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7" r:id="rId2"/>
  </p:sldIdLst>
  <p:sldSz cx="12192000" cy="6858000"/>
  <p:notesSz cx="6858000" cy="9144000"/>
  <p:custDataLst>
    <p:tags r:id="rId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990" autoAdjust="0"/>
    <p:restoredTop sz="94660"/>
  </p:normalViewPr>
  <p:slideViewPr>
    <p:cSldViewPr snapToGrid="0">
      <p:cViewPr varScale="1">
        <p:scale>
          <a:sx n="91" d="100"/>
          <a:sy n="91" d="100"/>
        </p:scale>
        <p:origin x="96" y="8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1C2945F-C4B1-4ECF-9890-916609144413}" type="datetimeFigureOut">
              <a:rPr lang="en-US" smtClean="0"/>
              <a:t>5/27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DCECB75-460D-4031-B236-DF3F264E55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3913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Friday, May 27, 2016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591671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1130222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Friday, May 27, 2016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DAAB106-A32D-4436-87F8-9B0DB179A1C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52569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4.xml"/><Relationship Id="rId7" Type="http://schemas.openxmlformats.org/officeDocument/2006/relationships/slideLayout" Target="../slideLayouts/slideLayout1.xml"/><Relationship Id="rId12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tags" Target="../tags/tag7.xml"/><Relationship Id="rId11" Type="http://schemas.openxmlformats.org/officeDocument/2006/relationships/image" Target="../media/image2.emf"/><Relationship Id="rId5" Type="http://schemas.openxmlformats.org/officeDocument/2006/relationships/tags" Target="../tags/tag6.xml"/><Relationship Id="rId10" Type="http://schemas.openxmlformats.org/officeDocument/2006/relationships/oleObject" Target="../embeddings/oleObject3.bin"/><Relationship Id="rId4" Type="http://schemas.openxmlformats.org/officeDocument/2006/relationships/tags" Target="../tags/tag5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09079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graphicFrame>
        <p:nvGraphicFramePr>
          <p:cNvPr id="9" name="Object 8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831328673"/>
              </p:ext>
            </p:extLst>
          </p:nvPr>
        </p:nvGraphicFramePr>
        <p:xfrm>
          <a:off x="4800600" y="1028700"/>
          <a:ext cx="1381220" cy="227654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3" name="Chart" r:id="rId10" imgW="1381220" imgH="2276543" progId="MSGraph.Chart.8">
                  <p:embed followColorScheme="full"/>
                </p:oleObj>
              </mc:Choice>
              <mc:Fallback>
                <p:oleObj name="Chart" r:id="rId10" imgW="1381220" imgH="2276543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4800600" y="1028700"/>
                        <a:ext cx="1381220" cy="227654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28625" y="2614613"/>
            <a:ext cx="4613275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C7210672-8A34-4B8D-9FAC-208B77A1035B}" type="thinkcell&lt;?xml version=&quot;1.0&quot; encoding=&quot;UTF-16&quot; standalone=&quot;yes&quot;?&gt;&lt;root reqver=&quot;23045&quot;&gt;&lt;version val=&quot;24178&quot;/&gt;&lt;PersistentType&gt;&lt;m_guid val=&quot;3bad6a25-6993-4e86-938e-596c650e2156&quot;/&gt;&lt;m_prec&gt;&lt;m_yearfmt&gt;&lt;begin val=&quot;0&quot;/&gt;&lt;end val=&quot;4&quot;/&gt;&lt;/m_yearfmt&gt;&lt;/m_prec&gt;&lt;/PersistentType&gt;&lt;/root&gt;">
              <a:rPr lang="en-US" altLang="en-US" sz="1000"/>
              <a:pPr/>
              <a:t>Long: More than 58 characters xxxxxxxxxxxxxxxxxxxxxxxxxxxxxxxxxxxxxxxxxxxxxxxxxxxxxx</a:t>
            </a:fld>
            <a:endParaRPr lang="en-US" sz="1000" dirty="0"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3757613" y="1590675"/>
            <a:ext cx="1284288" cy="15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fld id="{EE1E08C8-6881-443F-AF61-A7AAC98BE165}" type="datetime'Sho''''''rt'''''': Less'''' t''''h''a''n 58'' c''''ha''rs'''''">
              <a:rPr lang="en-US" altLang="en-US" sz="1000"/>
              <a:pPr/>
              <a:t>Short: Less than 58 chars</a:t>
            </a:fld>
            <a:endParaRPr lang="en-US" sz="1000" dirty="0">
              <a:sym typeface="+mn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77070" y="3977969"/>
            <a:ext cx="222208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smtClean="0">
                <a:solidFill>
                  <a:schemeClr val="accent2"/>
                </a:solidFill>
              </a:rPr>
              <a:t>Screenshot of chart in PowerPoint:</a:t>
            </a:r>
            <a:endParaRPr lang="en-US" sz="1100" b="1">
              <a:solidFill>
                <a:schemeClr val="accent2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77070" y="396569"/>
            <a:ext cx="177163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b="1" smtClean="0">
                <a:solidFill>
                  <a:schemeClr val="accent2"/>
                </a:solidFill>
              </a:rPr>
              <a:t>Chart created by think-cell:</a:t>
            </a:r>
            <a:endParaRPr lang="en-US" sz="1100" b="1">
              <a:solidFill>
                <a:schemeClr val="accent2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6296846" y="181126"/>
            <a:ext cx="441300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100" b="1" smtClean="0">
                <a:solidFill>
                  <a:schemeClr val="accent2"/>
                </a:solidFill>
              </a:rPr>
              <a:t>Resulting XML in pptx file</a:t>
            </a:r>
            <a:br>
              <a:rPr lang="de-DE" sz="1100" b="1" smtClean="0">
                <a:solidFill>
                  <a:schemeClr val="accent2"/>
                </a:solidFill>
              </a:rPr>
            </a:br>
            <a:r>
              <a:rPr lang="de-DE" sz="1100" b="1" smtClean="0">
                <a:solidFill>
                  <a:schemeClr val="accent2"/>
                </a:solidFill>
              </a:rPr>
              <a:t>(</a:t>
            </a:r>
            <a:r>
              <a:rPr lang="en-US" sz="1100" b="1">
                <a:solidFill>
                  <a:schemeClr val="accent2"/>
                </a:solidFill>
              </a:rPr>
              <a:t>LibreOffice #97083 - think-cell example (2</a:t>
            </a:r>
            <a:r>
              <a:rPr lang="en-US" sz="1100" b="1" smtClean="0">
                <a:solidFill>
                  <a:schemeClr val="accent2"/>
                </a:solidFill>
              </a:rPr>
              <a:t>).pptx\ppt\slides\slide1.xml)</a:t>
            </a:r>
            <a:r>
              <a:rPr lang="de-DE" sz="1100" b="1" smtClean="0">
                <a:solidFill>
                  <a:schemeClr val="accent2"/>
                </a:solidFill>
              </a:rPr>
              <a:t>:</a:t>
            </a:r>
            <a:endParaRPr lang="en-US" sz="1100" b="1">
              <a:solidFill>
                <a:schemeClr val="accent2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296846" y="775654"/>
            <a:ext cx="5773234" cy="10618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57188" algn="l"/>
              </a:tabLst>
            </a:pPr>
            <a:r>
              <a:rPr lang="en-US" sz="1050" smtClean="0"/>
              <a:t>&lt;</a:t>
            </a:r>
            <a:r>
              <a:rPr lang="en-US" sz="1050"/>
              <a:t>a:fld id="{EE1E08C8-6881-443F-AF61-A7AAC98BE165}" </a:t>
            </a:r>
            <a:r>
              <a:rPr lang="en-US" sz="1050" b="1"/>
              <a:t>type="datetime</a:t>
            </a:r>
            <a:r>
              <a:rPr lang="en-US" sz="1050"/>
              <a:t>'Sho''''''rt'''''': Less'''' t''''h''a''n 58'' c''''ha''rs</a:t>
            </a:r>
            <a:r>
              <a:rPr lang="en-US" sz="1050" smtClean="0"/>
              <a:t>'''''"&gt;</a:t>
            </a:r>
            <a:br>
              <a:rPr lang="en-US" sz="1050" smtClean="0"/>
            </a:br>
            <a:r>
              <a:rPr lang="en-US" sz="1050" smtClean="0"/>
              <a:t>	&lt;</a:t>
            </a:r>
            <a:r>
              <a:rPr lang="en-US" sz="1050"/>
              <a:t>a:rPr lang="en-US" altLang="en-US" sz="1400</a:t>
            </a:r>
            <a:r>
              <a:rPr lang="en-US" sz="1050" smtClean="0"/>
              <a:t>"/&gt;</a:t>
            </a:r>
            <a:br>
              <a:rPr lang="en-US" sz="1050" smtClean="0"/>
            </a:br>
            <a:r>
              <a:rPr lang="en-US" sz="1050" smtClean="0"/>
              <a:t>	&lt;a:pPr/&gt;</a:t>
            </a:r>
            <a:br>
              <a:rPr lang="en-US" sz="1050" smtClean="0"/>
            </a:br>
            <a:r>
              <a:rPr lang="en-US" sz="1050" smtClean="0"/>
              <a:t>	</a:t>
            </a:r>
            <a:r>
              <a:rPr lang="en-US" sz="1050" b="1" smtClean="0"/>
              <a:t>&lt;</a:t>
            </a:r>
            <a:r>
              <a:rPr lang="en-US" sz="1050" b="1"/>
              <a:t>a:t&gt;Short: Less than 58 chars&lt;/a:t&gt;</a:t>
            </a:r>
          </a:p>
          <a:p>
            <a:r>
              <a:rPr lang="en-US" sz="1050" smtClean="0"/>
              <a:t>&lt;/</a:t>
            </a:r>
            <a:r>
              <a:rPr lang="en-US" sz="1050"/>
              <a:t>a:fld&gt;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6296846" y="2260651"/>
            <a:ext cx="577323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tabLst>
                <a:tab pos="357188" algn="l"/>
              </a:tabLst>
            </a:pPr>
            <a:r>
              <a:rPr lang="en-US" sz="1050"/>
              <a:t>&lt;a:fld id="{C7210672-8A34-4B8D-9FAC-208B77A1035B}" </a:t>
            </a:r>
            <a:r>
              <a:rPr lang="en-US" sz="1050" b="1"/>
              <a:t>type="thinkcell</a:t>
            </a:r>
            <a:r>
              <a:rPr lang="en-US" sz="1050"/>
              <a:t>&amp;lt;?xml version=&amp;quot;1.0&amp;quot; encoding=&amp;quot;UTF-16&amp;quot; standalone=&amp;quot;yes&amp;quot;?&amp;gt;&amp;lt;root reqver=&amp;quot;23045&amp;quot;&amp;gt;&amp;lt;version val=&amp;quot;24178&amp;quot;/&amp;gt;&amp;lt;PersistentType&amp;gt;&amp;lt;m_guid val=&amp;quot;3bad6a25-6993-4e86-938e-596c650e2156&amp;quot;/&amp;gt;&amp;lt;m_prec&amp;gt;&amp;lt;m_yearfmt&amp;gt;&amp;lt;begin val=&amp;quot;0&amp;quot;/&amp;gt;&amp;lt;end val=&amp;quot;4&amp;quot;/&amp;gt;&amp;lt;/m_yearfmt&amp;gt;&amp;lt;/m_prec&amp;gt;&amp;lt;/PersistentType&amp;gt;&amp;lt;/</a:t>
            </a:r>
            <a:r>
              <a:rPr lang="en-US" sz="1050"/>
              <a:t>root&amp;gt</a:t>
            </a:r>
            <a:r>
              <a:rPr lang="en-US" sz="1050" smtClean="0"/>
              <a:t>;"&gt;</a:t>
            </a:r>
            <a:br>
              <a:rPr lang="en-US" sz="1050" smtClean="0"/>
            </a:br>
            <a:r>
              <a:rPr lang="en-US" sz="1050" smtClean="0"/>
              <a:t>	&lt;</a:t>
            </a:r>
            <a:r>
              <a:rPr lang="en-US" sz="1050"/>
              <a:t>a:rPr lang="en-US" altLang="en-US" sz="</a:t>
            </a:r>
            <a:r>
              <a:rPr lang="en-US" sz="1050"/>
              <a:t>1000</a:t>
            </a:r>
            <a:r>
              <a:rPr lang="en-US" sz="1050" smtClean="0"/>
              <a:t>"/&gt;</a:t>
            </a:r>
            <a:br>
              <a:rPr lang="en-US" sz="1050" smtClean="0"/>
            </a:br>
            <a:r>
              <a:rPr lang="en-US" sz="1050" smtClean="0"/>
              <a:t>	&lt;</a:t>
            </a:r>
            <a:r>
              <a:rPr lang="en-US" sz="1050"/>
              <a:t>a:pPr/&gt;</a:t>
            </a:r>
          </a:p>
          <a:p>
            <a:pPr>
              <a:tabLst>
                <a:tab pos="357188" algn="l"/>
              </a:tabLst>
            </a:pPr>
            <a:r>
              <a:rPr lang="en-US" sz="1050"/>
              <a:t>	</a:t>
            </a:r>
            <a:r>
              <a:rPr lang="en-US" sz="1050" b="1"/>
              <a:t>&lt;a:t&gt;Long: More than </a:t>
            </a:r>
            <a:r>
              <a:rPr lang="en-US" sz="1050" b="1"/>
              <a:t>58 </a:t>
            </a:r>
            <a:r>
              <a:rPr lang="en-US" sz="1050" b="1" smtClean="0"/>
              <a:t>characters 	xxxxxxxxxxxxxxxxxxxxxxxxxxxxxxxxxxxxxxxxxxxxxxxxxxxxxx</a:t>
            </a:r>
            <a:r>
              <a:rPr lang="en-US" sz="1050" b="1"/>
              <a:t>&lt;/a:t&gt;</a:t>
            </a:r>
          </a:p>
          <a:p>
            <a:pPr>
              <a:tabLst>
                <a:tab pos="357188" algn="l"/>
              </a:tabLst>
            </a:pPr>
            <a:r>
              <a:rPr lang="en-US" sz="1050" smtClean="0"/>
              <a:t>&lt;/</a:t>
            </a:r>
            <a:r>
              <a:rPr lang="en-US" sz="1050"/>
              <a:t>a:fld&gt;</a:t>
            </a:r>
            <a:endParaRPr lang="en-US" sz="1050"/>
          </a:p>
        </p:txBody>
      </p:sp>
      <p:cxnSp>
        <p:nvCxnSpPr>
          <p:cNvPr id="4" name="Straight Connector 3"/>
          <p:cNvCxnSpPr/>
          <p:nvPr/>
        </p:nvCxnSpPr>
        <p:spPr>
          <a:xfrm>
            <a:off x="6041696" y="2166971"/>
            <a:ext cx="481584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28625" y="4453559"/>
            <a:ext cx="5228571" cy="2209524"/>
          </a:xfrm>
          <a:prstGeom prst="rect">
            <a:avLst/>
          </a:prstGeom>
          <a:ln>
            <a:solidFill>
              <a:schemeClr val="accent2"/>
            </a:solidFill>
          </a:ln>
        </p:spPr>
      </p:pic>
    </p:spTree>
    <p:extLst>
      <p:ext uri="{BB962C8B-B14F-4D97-AF65-F5344CB8AC3E}">
        <p14:creationId xmlns:p14="http://schemas.microsoft.com/office/powerpoint/2010/main" val="8834987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HvoTXOFSUS9HjPdcveuh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QXDhT3RRqBymgqqJH3f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MAOJ5jQHWbLEn4ezy85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5SIr3bSOKV9bVDvc5y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29</Words>
  <Application>Microsoft Office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Calibri Light</vt:lpstr>
      <vt:lpstr>Office Theme</vt:lpstr>
      <vt:lpstr>think-cell Slide</vt:lpstr>
      <vt:lpstr>Chart</vt:lpstr>
      <vt:lpstr>PowerPoint Presentation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vukelic</dc:creator>
  <cp:lastModifiedBy>mvukelic</cp:lastModifiedBy>
  <cp:revision>8</cp:revision>
  <dcterms:created xsi:type="dcterms:W3CDTF">2016-05-27T10:24:19Z</dcterms:created>
  <dcterms:modified xsi:type="dcterms:W3CDTF">2016-05-27T12:03:22Z</dcterms:modified>
</cp:coreProperties>
</file>